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095625" cy="1079500"/>
  <p:notesSz cx="7102475" cy="10233025"/>
  <p:custDataLst>
    <p:tags r:id="rId3"/>
  </p:custDataLst>
  <p:defaultTextStyle>
    <a:defPPr>
      <a:defRPr lang="de-DE"/>
    </a:defPPr>
    <a:lvl1pPr marL="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1pPr>
    <a:lvl2pPr marL="12939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2pPr>
    <a:lvl3pPr marL="25878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3pPr>
    <a:lvl4pPr marL="388183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4pPr>
    <a:lvl5pPr marL="51757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5pPr>
    <a:lvl6pPr marL="646972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6pPr>
    <a:lvl7pPr marL="776367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7pPr>
    <a:lvl8pPr marL="90576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8pPr>
    <a:lvl9pPr marL="103515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0" userDrawn="1">
          <p15:clr>
            <a:srgbClr val="A4A3A4"/>
          </p15:clr>
        </p15:guide>
        <p15:guide id="2" pos="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38" autoAdjust="0"/>
    <p:restoredTop sz="94660"/>
  </p:normalViewPr>
  <p:slideViewPr>
    <p:cSldViewPr>
      <p:cViewPr varScale="1">
        <p:scale>
          <a:sx n="370" d="100"/>
          <a:sy n="370" d="100"/>
        </p:scale>
        <p:origin x="270" y="1242"/>
      </p:cViewPr>
      <p:guideLst>
        <p:guide orient="horz" pos="340"/>
        <p:guide pos="9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2172" y="335344"/>
            <a:ext cx="2631282" cy="23139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4349" y="611720"/>
            <a:ext cx="2166937" cy="27587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6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2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9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5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1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8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14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30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244331" y="43230"/>
            <a:ext cx="696516" cy="921074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4781" y="43230"/>
            <a:ext cx="2037954" cy="921074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533" y="693679"/>
            <a:ext cx="2631282" cy="214400"/>
          </a:xfrm>
        </p:spPr>
        <p:txBody>
          <a:bodyPr anchor="t"/>
          <a:lstStyle>
            <a:lvl1pPr algn="l">
              <a:defRPr sz="4518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4533" y="457539"/>
            <a:ext cx="2631282" cy="236141"/>
          </a:xfrm>
        </p:spPr>
        <p:txBody>
          <a:bodyPr anchor="b"/>
          <a:lstStyle>
            <a:lvl1pPr marL="0" indent="0">
              <a:buNone/>
              <a:defRPr sz="2259">
                <a:solidFill>
                  <a:schemeClr val="tx1">
                    <a:tint val="75000"/>
                  </a:schemeClr>
                </a:solidFill>
              </a:defRPr>
            </a:lvl1pPr>
            <a:lvl2pPr marL="516347" indent="0">
              <a:buNone/>
              <a:defRPr sz="2033">
                <a:solidFill>
                  <a:schemeClr val="tx1">
                    <a:tint val="75000"/>
                  </a:schemeClr>
                </a:solidFill>
              </a:defRPr>
            </a:lvl2pPr>
            <a:lvl3pPr marL="1032693" indent="0">
              <a:buNone/>
              <a:defRPr sz="1807">
                <a:solidFill>
                  <a:schemeClr val="tx1">
                    <a:tint val="75000"/>
                  </a:schemeClr>
                </a:solidFill>
              </a:defRPr>
            </a:lvl3pPr>
            <a:lvl4pPr marL="154904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4pPr>
            <a:lvl5pPr marL="2065387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5pPr>
            <a:lvl6pPr marL="2581733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6pPr>
            <a:lvl7pPr marL="309808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7pPr>
            <a:lvl8pPr marL="3614427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8pPr>
            <a:lvl9pPr marL="4130773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4788" y="251887"/>
            <a:ext cx="1367235" cy="712420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73615" y="251887"/>
            <a:ext cx="1367235" cy="712420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1" y="241638"/>
            <a:ext cx="1367772" cy="100704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47" indent="0">
              <a:buNone/>
              <a:defRPr sz="2259" b="1"/>
            </a:lvl2pPr>
            <a:lvl3pPr marL="1032693" indent="0">
              <a:buNone/>
              <a:defRPr sz="2033" b="1"/>
            </a:lvl3pPr>
            <a:lvl4pPr marL="1549040" indent="0">
              <a:buNone/>
              <a:defRPr sz="1807" b="1"/>
            </a:lvl4pPr>
            <a:lvl5pPr marL="2065387" indent="0">
              <a:buNone/>
              <a:defRPr sz="1807" b="1"/>
            </a:lvl5pPr>
            <a:lvl6pPr marL="2581733" indent="0">
              <a:buNone/>
              <a:defRPr sz="1807" b="1"/>
            </a:lvl6pPr>
            <a:lvl7pPr marL="3098080" indent="0">
              <a:buNone/>
              <a:defRPr sz="1807" b="1"/>
            </a:lvl7pPr>
            <a:lvl8pPr marL="3614427" indent="0">
              <a:buNone/>
              <a:defRPr sz="1807" b="1"/>
            </a:lvl8pPr>
            <a:lvl9pPr marL="413077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4781" y="342344"/>
            <a:ext cx="1367772" cy="62196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72542" y="241638"/>
            <a:ext cx="1368309" cy="100704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47" indent="0">
              <a:buNone/>
              <a:defRPr sz="2259" b="1"/>
            </a:lvl2pPr>
            <a:lvl3pPr marL="1032693" indent="0">
              <a:buNone/>
              <a:defRPr sz="2033" b="1"/>
            </a:lvl3pPr>
            <a:lvl4pPr marL="1549040" indent="0">
              <a:buNone/>
              <a:defRPr sz="1807" b="1"/>
            </a:lvl4pPr>
            <a:lvl5pPr marL="2065387" indent="0">
              <a:buNone/>
              <a:defRPr sz="1807" b="1"/>
            </a:lvl5pPr>
            <a:lvl6pPr marL="2581733" indent="0">
              <a:buNone/>
              <a:defRPr sz="1807" b="1"/>
            </a:lvl6pPr>
            <a:lvl7pPr marL="3098080" indent="0">
              <a:buNone/>
              <a:defRPr sz="1807" b="1"/>
            </a:lvl7pPr>
            <a:lvl8pPr marL="3614427" indent="0">
              <a:buNone/>
              <a:defRPr sz="1807" b="1"/>
            </a:lvl8pPr>
            <a:lvl9pPr marL="413077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72542" y="342344"/>
            <a:ext cx="1368309" cy="62196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8" y="42981"/>
            <a:ext cx="1018439" cy="182915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0304" y="42980"/>
            <a:ext cx="1730540" cy="921323"/>
          </a:xfrm>
        </p:spPr>
        <p:txBody>
          <a:bodyPr/>
          <a:lstStyle>
            <a:lvl1pPr>
              <a:defRPr sz="3614"/>
            </a:lvl1pPr>
            <a:lvl2pPr>
              <a:defRPr sz="3162"/>
            </a:lvl2pPr>
            <a:lvl3pPr>
              <a:defRPr sz="2711"/>
            </a:lvl3pPr>
            <a:lvl4pPr>
              <a:defRPr sz="2259"/>
            </a:lvl4pPr>
            <a:lvl5pPr>
              <a:defRPr sz="2259"/>
            </a:lvl5pPr>
            <a:lvl6pPr>
              <a:defRPr sz="2259"/>
            </a:lvl6pPr>
            <a:lvl7pPr>
              <a:defRPr sz="2259"/>
            </a:lvl7pPr>
            <a:lvl8pPr>
              <a:defRPr sz="2259"/>
            </a:lvl8pPr>
            <a:lvl9pPr>
              <a:defRPr sz="2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4788" y="225896"/>
            <a:ext cx="1018439" cy="738408"/>
          </a:xfrm>
        </p:spPr>
        <p:txBody>
          <a:bodyPr/>
          <a:lstStyle>
            <a:lvl1pPr marL="0" indent="0">
              <a:buNone/>
              <a:defRPr sz="1581"/>
            </a:lvl1pPr>
            <a:lvl2pPr marL="516347" indent="0">
              <a:buNone/>
              <a:defRPr sz="1355"/>
            </a:lvl2pPr>
            <a:lvl3pPr marL="1032693" indent="0">
              <a:buNone/>
              <a:defRPr sz="1129"/>
            </a:lvl3pPr>
            <a:lvl4pPr marL="1549040" indent="0">
              <a:buNone/>
              <a:defRPr sz="1016"/>
            </a:lvl4pPr>
            <a:lvl5pPr marL="2065387" indent="0">
              <a:buNone/>
              <a:defRPr sz="1016"/>
            </a:lvl5pPr>
            <a:lvl6pPr marL="2581733" indent="0">
              <a:buNone/>
              <a:defRPr sz="1016"/>
            </a:lvl6pPr>
            <a:lvl7pPr marL="3098080" indent="0">
              <a:buNone/>
              <a:defRPr sz="1016"/>
            </a:lvl7pPr>
            <a:lvl8pPr marL="3614427" indent="0">
              <a:buNone/>
              <a:defRPr sz="1016"/>
            </a:lvl8pPr>
            <a:lvl9pPr marL="413077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6769" y="755651"/>
            <a:ext cx="1857375" cy="89209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6769" y="96457"/>
            <a:ext cx="1857375" cy="647700"/>
          </a:xfrm>
        </p:spPr>
        <p:txBody>
          <a:bodyPr/>
          <a:lstStyle>
            <a:lvl1pPr marL="0" indent="0">
              <a:buNone/>
              <a:defRPr sz="3614"/>
            </a:lvl1pPr>
            <a:lvl2pPr marL="516347" indent="0">
              <a:buNone/>
              <a:defRPr sz="3162"/>
            </a:lvl2pPr>
            <a:lvl3pPr marL="1032693" indent="0">
              <a:buNone/>
              <a:defRPr sz="2711"/>
            </a:lvl3pPr>
            <a:lvl4pPr marL="1549040" indent="0">
              <a:buNone/>
              <a:defRPr sz="2259"/>
            </a:lvl4pPr>
            <a:lvl5pPr marL="2065387" indent="0">
              <a:buNone/>
              <a:defRPr sz="2259"/>
            </a:lvl5pPr>
            <a:lvl6pPr marL="2581733" indent="0">
              <a:buNone/>
              <a:defRPr sz="2259"/>
            </a:lvl6pPr>
            <a:lvl7pPr marL="3098080" indent="0">
              <a:buNone/>
              <a:defRPr sz="2259"/>
            </a:lvl7pPr>
            <a:lvl8pPr marL="3614427" indent="0">
              <a:buNone/>
              <a:defRPr sz="2259"/>
            </a:lvl8pPr>
            <a:lvl9pPr marL="4130773" indent="0">
              <a:buNone/>
              <a:defRPr sz="225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6769" y="844861"/>
            <a:ext cx="1857375" cy="126692"/>
          </a:xfrm>
        </p:spPr>
        <p:txBody>
          <a:bodyPr/>
          <a:lstStyle>
            <a:lvl1pPr marL="0" indent="0">
              <a:buNone/>
              <a:defRPr sz="1581"/>
            </a:lvl1pPr>
            <a:lvl2pPr marL="516347" indent="0">
              <a:buNone/>
              <a:defRPr sz="1355"/>
            </a:lvl2pPr>
            <a:lvl3pPr marL="1032693" indent="0">
              <a:buNone/>
              <a:defRPr sz="1129"/>
            </a:lvl3pPr>
            <a:lvl4pPr marL="1549040" indent="0">
              <a:buNone/>
              <a:defRPr sz="1016"/>
            </a:lvl4pPr>
            <a:lvl5pPr marL="2065387" indent="0">
              <a:buNone/>
              <a:defRPr sz="1016"/>
            </a:lvl5pPr>
            <a:lvl6pPr marL="2581733" indent="0">
              <a:buNone/>
              <a:defRPr sz="1016"/>
            </a:lvl6pPr>
            <a:lvl7pPr marL="3098080" indent="0">
              <a:buNone/>
              <a:defRPr sz="1016"/>
            </a:lvl7pPr>
            <a:lvl8pPr marL="3614427" indent="0">
              <a:buNone/>
              <a:defRPr sz="1016"/>
            </a:lvl8pPr>
            <a:lvl9pPr marL="413077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544573"/>
              </p:ext>
            </p:extLst>
          </p:nvPr>
        </p:nvGraphicFramePr>
        <p:xfrm>
          <a:off x="537" y="253"/>
          <a:ext cx="538" cy="2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37" y="253"/>
                        <a:ext cx="538" cy="2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0"/>
            <a:ext cx="53744" cy="249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96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4786" y="43231"/>
            <a:ext cx="2786063" cy="1799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6" y="251887"/>
            <a:ext cx="2786063" cy="712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4784" y="1000537"/>
            <a:ext cx="722312" cy="574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2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7677" y="1000537"/>
            <a:ext cx="980281" cy="574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18535" y="1000537"/>
            <a:ext cx="722312" cy="574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32693" rtl="0" eaLnBrk="1" latinLnBrk="0" hangingPunct="1">
        <a:spcBef>
          <a:spcPct val="0"/>
        </a:spcBef>
        <a:buNone/>
        <a:defRPr sz="496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7260" indent="-387260" algn="l" defTabSz="1032693" rtl="0" eaLnBrk="1" latinLnBrk="0" hangingPunct="1">
        <a:spcBef>
          <a:spcPct val="20000"/>
        </a:spcBef>
        <a:buFont typeface="Arial" pitchFamily="34" charset="0"/>
        <a:buChar char="•"/>
        <a:defRPr sz="3614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39064" indent="-322717" algn="l" defTabSz="1032693" rtl="0" eaLnBrk="1" latinLnBrk="0" hangingPunct="1">
        <a:spcBef>
          <a:spcPct val="20000"/>
        </a:spcBef>
        <a:buFont typeface="Arial" pitchFamily="34" charset="0"/>
        <a:buChar char="–"/>
        <a:defRPr sz="316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90866" indent="-258173" algn="l" defTabSz="1032693" rtl="0" eaLnBrk="1" latinLnBrk="0" hangingPunct="1">
        <a:spcBef>
          <a:spcPct val="20000"/>
        </a:spcBef>
        <a:buFont typeface="Arial" pitchFamily="34" charset="0"/>
        <a:buChar char="•"/>
        <a:defRPr sz="271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807213" indent="-258173" algn="l" defTabSz="1032693" rtl="0" eaLnBrk="1" latinLnBrk="0" hangingPunct="1">
        <a:spcBef>
          <a:spcPct val="20000"/>
        </a:spcBef>
        <a:buFont typeface="Arial" pitchFamily="34" charset="0"/>
        <a:buChar char="–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323560" indent="-258173" algn="l" defTabSz="1032693" rtl="0" eaLnBrk="1" latinLnBrk="0" hangingPunct="1">
        <a:spcBef>
          <a:spcPct val="20000"/>
        </a:spcBef>
        <a:buFont typeface="Arial" pitchFamily="34" charset="0"/>
        <a:buChar char="»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39906" indent="-258173" algn="l" defTabSz="103269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6pPr>
      <a:lvl7pPr marL="3356253" indent="-258173" algn="l" defTabSz="103269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7pPr>
      <a:lvl8pPr marL="3872600" indent="-258173" algn="l" defTabSz="103269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8pPr>
      <a:lvl9pPr marL="4388946" indent="-258173" algn="l" defTabSz="103269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1pPr>
      <a:lvl2pPr marL="516347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2pPr>
      <a:lvl3pPr marL="1032693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3pPr>
      <a:lvl4pPr marL="1549040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4pPr>
      <a:lvl5pPr marL="2065387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5pPr>
      <a:lvl6pPr marL="2581733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6pPr>
      <a:lvl7pPr marL="3098080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7pPr>
      <a:lvl8pPr marL="3614427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8pPr>
      <a:lvl9pPr marL="4130773" algn="l" defTabSz="103269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768819"/>
              </p:ext>
            </p:extLst>
          </p:nvPr>
        </p:nvGraphicFramePr>
        <p:xfrm>
          <a:off x="-3739290" y="-3159256"/>
          <a:ext cx="1794" cy="1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39290" y="-3159256"/>
                        <a:ext cx="1794" cy="1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Gerader Verbinder 22"/>
          <p:cNvCxnSpPr/>
          <p:nvPr/>
        </p:nvCxnSpPr>
        <p:spPr>
          <a:xfrm flipV="1">
            <a:off x="593644" y="35694"/>
            <a:ext cx="0" cy="990048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Gerader Verbinder 3"/>
          <p:cNvCxnSpPr/>
          <p:nvPr/>
        </p:nvCxnSpPr>
        <p:spPr>
          <a:xfrm flipV="1">
            <a:off x="35644" y="530717"/>
            <a:ext cx="1116000" cy="0"/>
          </a:xfrm>
          <a:prstGeom prst="line">
            <a:avLst/>
          </a:prstGeom>
          <a:ln w="31750" cmpd="dbl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Ellipse 7"/>
          <p:cNvSpPr>
            <a:spLocks noChangeAspect="1"/>
          </p:cNvSpPr>
          <p:nvPr/>
        </p:nvSpPr>
        <p:spPr>
          <a:xfrm>
            <a:off x="572044" y="509118"/>
            <a:ext cx="43200" cy="432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622" b="99750" l="623" r="96125">
                        <a14:foregroundMark x1="13080" y1="45818" x2="24429" y2="45194"/>
                        <a14:foregroundMark x1="1730" y1="47690" x2="13218" y2="46192"/>
                        <a14:foregroundMark x1="24983" y1="45568" x2="38062" y2="45818"/>
                        <a14:foregroundMark x1="42491" y1="37828" x2="38201" y2="45943"/>
                        <a14:foregroundMark x1="48581" y1="37203" x2="47958" y2="2622"/>
                        <a14:foregroundMark x1="48720" y1="37453" x2="51280" y2="44070"/>
                        <a14:foregroundMark x1="52042" y1="44444" x2="61315" y2="45818"/>
                        <a14:foregroundMark x1="61384" y1="45194" x2="75433" y2="45568"/>
                        <a14:foregroundMark x1="75986" y1="45943" x2="96125" y2="48065"/>
                        <a14:foregroundMark x1="48512" y1="70537" x2="48374" y2="99750"/>
                        <a14:foregroundMark x1="51488" y1="63296" x2="48581" y2="68539"/>
                        <a14:foregroundMark x1="48997" y1="69788" x2="48997" y2="68914"/>
                      </a14:backgroundRemoval>
                    </a14:imgEffect>
                  </a14:imgLayer>
                </a14:imgProps>
              </a:ext>
            </a:extLst>
          </a:blip>
          <a:srcRect r="9445"/>
          <a:stretch/>
        </p:blipFill>
        <p:spPr>
          <a:xfrm>
            <a:off x="1331791" y="0"/>
            <a:ext cx="1728191" cy="105790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ANKy4CRjkggxgH1y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Benutzerdefiniert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Arial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21</cp:revision>
  <cp:lastPrinted>2020-02-06T09:58:55Z</cp:lastPrinted>
  <dcterms:created xsi:type="dcterms:W3CDTF">2020-02-06T09:29:41Z</dcterms:created>
  <dcterms:modified xsi:type="dcterms:W3CDTF">2020-02-26T13:08:29Z</dcterms:modified>
</cp:coreProperties>
</file>